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5C5603-66FD-455C-BC5B-472ECF654E55}" v="49" dt="2023-03-16T21:40:16.9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645C5603-66FD-455C-BC5B-472ECF654E55}"/>
    <pc:docChg chg="modSld">
      <pc:chgData name="Roberto Gallardo" userId="49a044883f185952" providerId="LiveId" clId="{645C5603-66FD-455C-BC5B-472ECF654E55}" dt="2023-03-16T21:40:29.340" v="304" actId="1076"/>
      <pc:docMkLst>
        <pc:docMk/>
      </pc:docMkLst>
      <pc:sldChg chg="addSp modSp mod">
        <pc:chgData name="Roberto Gallardo" userId="49a044883f185952" providerId="LiveId" clId="{645C5603-66FD-455C-BC5B-472ECF654E55}" dt="2023-03-16T21:35:18.135" v="106" actId="1076"/>
        <pc:sldMkLst>
          <pc:docMk/>
          <pc:sldMk cId="1418533539" sldId="271"/>
        </pc:sldMkLst>
        <pc:picChg chg="add mod">
          <ac:chgData name="Roberto Gallardo" userId="49a044883f185952" providerId="LiveId" clId="{645C5603-66FD-455C-BC5B-472ECF654E55}" dt="2023-03-16T21:35:18.135" v="106" actId="1076"/>
          <ac:picMkLst>
            <pc:docMk/>
            <pc:sldMk cId="1418533539" sldId="271"/>
            <ac:picMk id="6" creationId="{B034324C-441E-B855-0573-6AF4E0C03E7D}"/>
          </ac:picMkLst>
        </pc:picChg>
      </pc:sldChg>
      <pc:sldChg chg="addSp modSp mod">
        <pc:chgData name="Roberto Gallardo" userId="49a044883f185952" providerId="LiveId" clId="{645C5603-66FD-455C-BC5B-472ECF654E55}" dt="2023-03-16T21:37:13.012" v="174" actId="1076"/>
        <pc:sldMkLst>
          <pc:docMk/>
          <pc:sldMk cId="2124848710" sldId="281"/>
        </pc:sldMkLst>
        <pc:picChg chg="add mod">
          <ac:chgData name="Roberto Gallardo" userId="49a044883f185952" providerId="LiveId" clId="{645C5603-66FD-455C-BC5B-472ECF654E55}" dt="2023-03-16T21:37:13.012" v="174" actId="1076"/>
          <ac:picMkLst>
            <pc:docMk/>
            <pc:sldMk cId="2124848710" sldId="281"/>
            <ac:picMk id="6" creationId="{B48F00E8-35B3-819B-0D23-70AF02AC2634}"/>
          </ac:picMkLst>
        </pc:picChg>
      </pc:sldChg>
      <pc:sldChg chg="addSp modSp mod">
        <pc:chgData name="Roberto Gallardo" userId="49a044883f185952" providerId="LiveId" clId="{645C5603-66FD-455C-BC5B-472ECF654E55}" dt="2023-03-16T21:37:32.943" v="185" actId="1076"/>
        <pc:sldMkLst>
          <pc:docMk/>
          <pc:sldMk cId="2028175529" sldId="282"/>
        </pc:sldMkLst>
        <pc:picChg chg="add mod">
          <ac:chgData name="Roberto Gallardo" userId="49a044883f185952" providerId="LiveId" clId="{645C5603-66FD-455C-BC5B-472ECF654E55}" dt="2023-03-16T21:37:32.943" v="185" actId="1076"/>
          <ac:picMkLst>
            <pc:docMk/>
            <pc:sldMk cId="2028175529" sldId="282"/>
            <ac:picMk id="7" creationId="{0F52FD3E-6349-AD20-C42C-EC228D794E73}"/>
          </ac:picMkLst>
        </pc:picChg>
      </pc:sldChg>
      <pc:sldChg chg="addSp modSp mod">
        <pc:chgData name="Roberto Gallardo" userId="49a044883f185952" providerId="LiveId" clId="{645C5603-66FD-455C-BC5B-472ECF654E55}" dt="2023-03-16T21:37:47.092" v="194" actId="1076"/>
        <pc:sldMkLst>
          <pc:docMk/>
          <pc:sldMk cId="1326517747" sldId="283"/>
        </pc:sldMkLst>
        <pc:picChg chg="add mod">
          <ac:chgData name="Roberto Gallardo" userId="49a044883f185952" providerId="LiveId" clId="{645C5603-66FD-455C-BC5B-472ECF654E55}" dt="2023-03-16T21:37:47.092" v="194" actId="1076"/>
          <ac:picMkLst>
            <pc:docMk/>
            <pc:sldMk cId="1326517747" sldId="283"/>
            <ac:picMk id="7" creationId="{32E0ABD1-9EEE-1A1E-A2D8-14C4FF9892EB}"/>
          </ac:picMkLst>
        </pc:picChg>
      </pc:sldChg>
      <pc:sldChg chg="addSp modSp mod">
        <pc:chgData name="Roberto Gallardo" userId="49a044883f185952" providerId="LiveId" clId="{645C5603-66FD-455C-BC5B-472ECF654E55}" dt="2023-03-16T21:38:02.024" v="204" actId="1076"/>
        <pc:sldMkLst>
          <pc:docMk/>
          <pc:sldMk cId="783739251" sldId="284"/>
        </pc:sldMkLst>
        <pc:picChg chg="add mod">
          <ac:chgData name="Roberto Gallardo" userId="49a044883f185952" providerId="LiveId" clId="{645C5603-66FD-455C-BC5B-472ECF654E55}" dt="2023-03-16T21:38:02.024" v="204" actId="1076"/>
          <ac:picMkLst>
            <pc:docMk/>
            <pc:sldMk cId="783739251" sldId="284"/>
            <ac:picMk id="7" creationId="{EEE23E75-4B59-06E5-4DD0-B2A029C41130}"/>
          </ac:picMkLst>
        </pc:picChg>
      </pc:sldChg>
      <pc:sldChg chg="addSp modSp mod">
        <pc:chgData name="Roberto Gallardo" userId="49a044883f185952" providerId="LiveId" clId="{645C5603-66FD-455C-BC5B-472ECF654E55}" dt="2023-03-16T21:38:14.529" v="213" actId="1076"/>
        <pc:sldMkLst>
          <pc:docMk/>
          <pc:sldMk cId="1676122233" sldId="285"/>
        </pc:sldMkLst>
        <pc:picChg chg="add mod">
          <ac:chgData name="Roberto Gallardo" userId="49a044883f185952" providerId="LiveId" clId="{645C5603-66FD-455C-BC5B-472ECF654E55}" dt="2023-03-16T21:38:14.529" v="213" actId="1076"/>
          <ac:picMkLst>
            <pc:docMk/>
            <pc:sldMk cId="1676122233" sldId="285"/>
            <ac:picMk id="7" creationId="{0E289D1A-8184-7E0A-5F7D-8C169E76562C}"/>
          </ac:picMkLst>
        </pc:picChg>
      </pc:sldChg>
      <pc:sldChg chg="addSp modSp mod">
        <pc:chgData name="Roberto Gallardo" userId="49a044883f185952" providerId="LiveId" clId="{645C5603-66FD-455C-BC5B-472ECF654E55}" dt="2023-03-16T21:38:32.065" v="225" actId="1076"/>
        <pc:sldMkLst>
          <pc:docMk/>
          <pc:sldMk cId="3100398757" sldId="286"/>
        </pc:sldMkLst>
        <pc:picChg chg="add mod">
          <ac:chgData name="Roberto Gallardo" userId="49a044883f185952" providerId="LiveId" clId="{645C5603-66FD-455C-BC5B-472ECF654E55}" dt="2023-03-16T21:38:32.065" v="225" actId="1076"/>
          <ac:picMkLst>
            <pc:docMk/>
            <pc:sldMk cId="3100398757" sldId="286"/>
            <ac:picMk id="7" creationId="{255071F3-A306-6591-BA70-B52ABAAAAC3C}"/>
          </ac:picMkLst>
        </pc:picChg>
      </pc:sldChg>
      <pc:sldChg chg="addSp modSp mod">
        <pc:chgData name="Roberto Gallardo" userId="49a044883f185952" providerId="LiveId" clId="{645C5603-66FD-455C-BC5B-472ECF654E55}" dt="2023-03-16T21:38:46.344" v="234" actId="1076"/>
        <pc:sldMkLst>
          <pc:docMk/>
          <pc:sldMk cId="1546475425" sldId="287"/>
        </pc:sldMkLst>
        <pc:picChg chg="add mod">
          <ac:chgData name="Roberto Gallardo" userId="49a044883f185952" providerId="LiveId" clId="{645C5603-66FD-455C-BC5B-472ECF654E55}" dt="2023-03-16T21:38:46.344" v="234" actId="1076"/>
          <ac:picMkLst>
            <pc:docMk/>
            <pc:sldMk cId="1546475425" sldId="287"/>
            <ac:picMk id="7" creationId="{C6BEC60F-51E3-9A25-F5BD-C43681421C39}"/>
          </ac:picMkLst>
        </pc:picChg>
      </pc:sldChg>
      <pc:sldChg chg="addSp modSp mod">
        <pc:chgData name="Roberto Gallardo" userId="49a044883f185952" providerId="LiveId" clId="{645C5603-66FD-455C-BC5B-472ECF654E55}" dt="2023-03-16T21:39:18.548" v="257" actId="1076"/>
        <pc:sldMkLst>
          <pc:docMk/>
          <pc:sldMk cId="1380517306" sldId="288"/>
        </pc:sldMkLst>
        <pc:picChg chg="add mod">
          <ac:chgData name="Roberto Gallardo" userId="49a044883f185952" providerId="LiveId" clId="{645C5603-66FD-455C-BC5B-472ECF654E55}" dt="2023-03-16T21:39:18.548" v="257" actId="1076"/>
          <ac:picMkLst>
            <pc:docMk/>
            <pc:sldMk cId="1380517306" sldId="288"/>
            <ac:picMk id="7" creationId="{FED0E214-A2E9-DC22-414C-FCD1E5A19FFD}"/>
          </ac:picMkLst>
        </pc:picChg>
      </pc:sldChg>
      <pc:sldChg chg="addSp modSp mod">
        <pc:chgData name="Roberto Gallardo" userId="49a044883f185952" providerId="LiveId" clId="{645C5603-66FD-455C-BC5B-472ECF654E55}" dt="2023-03-16T21:39:35.908" v="270" actId="1076"/>
        <pc:sldMkLst>
          <pc:docMk/>
          <pc:sldMk cId="1388671151" sldId="289"/>
        </pc:sldMkLst>
        <pc:picChg chg="add mod">
          <ac:chgData name="Roberto Gallardo" userId="49a044883f185952" providerId="LiveId" clId="{645C5603-66FD-455C-BC5B-472ECF654E55}" dt="2023-03-16T21:39:35.908" v="270" actId="1076"/>
          <ac:picMkLst>
            <pc:docMk/>
            <pc:sldMk cId="1388671151" sldId="289"/>
            <ac:picMk id="7" creationId="{D6D5B6C4-F93E-0A66-BF44-6A43AEC706AA}"/>
          </ac:picMkLst>
        </pc:picChg>
      </pc:sldChg>
      <pc:sldChg chg="addSp modSp mod">
        <pc:chgData name="Roberto Gallardo" userId="49a044883f185952" providerId="LiveId" clId="{645C5603-66FD-455C-BC5B-472ECF654E55}" dt="2023-03-16T21:40:10.413" v="293" actId="1076"/>
        <pc:sldMkLst>
          <pc:docMk/>
          <pc:sldMk cId="2355376039" sldId="290"/>
        </pc:sldMkLst>
        <pc:picChg chg="add mod">
          <ac:chgData name="Roberto Gallardo" userId="49a044883f185952" providerId="LiveId" clId="{645C5603-66FD-455C-BC5B-472ECF654E55}" dt="2023-03-16T21:40:10.413" v="293" actId="1076"/>
          <ac:picMkLst>
            <pc:docMk/>
            <pc:sldMk cId="2355376039" sldId="290"/>
            <ac:picMk id="8" creationId="{AB8FF066-8EDE-6DC1-3BFE-D2339FBA44BD}"/>
          </ac:picMkLst>
        </pc:picChg>
      </pc:sldChg>
      <pc:sldChg chg="addSp modSp mod">
        <pc:chgData name="Roberto Gallardo" userId="49a044883f185952" providerId="LiveId" clId="{645C5603-66FD-455C-BC5B-472ECF654E55}" dt="2023-03-16T21:40:29.340" v="304" actId="1076"/>
        <pc:sldMkLst>
          <pc:docMk/>
          <pc:sldMk cId="3757257295" sldId="291"/>
        </pc:sldMkLst>
        <pc:picChg chg="add mod">
          <ac:chgData name="Roberto Gallardo" userId="49a044883f185952" providerId="LiveId" clId="{645C5603-66FD-455C-BC5B-472ECF654E55}" dt="2023-03-16T21:40:29.340" v="304" actId="1076"/>
          <ac:picMkLst>
            <pc:docMk/>
            <pc:sldMk cId="3757257295" sldId="291"/>
            <ac:picMk id="8" creationId="{93C73BCA-F537-96A4-0D03-8841D8215F6A}"/>
          </ac:picMkLst>
        </pc:picChg>
      </pc:sldChg>
      <pc:sldChg chg="addSp modSp mod">
        <pc:chgData name="Roberto Gallardo" userId="49a044883f185952" providerId="LiveId" clId="{645C5603-66FD-455C-BC5B-472ECF654E55}" dt="2023-03-16T21:39:04.135" v="247" actId="1076"/>
        <pc:sldMkLst>
          <pc:docMk/>
          <pc:sldMk cId="1259856727" sldId="292"/>
        </pc:sldMkLst>
        <pc:picChg chg="add mod">
          <ac:chgData name="Roberto Gallardo" userId="49a044883f185952" providerId="LiveId" clId="{645C5603-66FD-455C-BC5B-472ECF654E55}" dt="2023-03-16T21:39:04.135" v="247" actId="1076"/>
          <ac:picMkLst>
            <pc:docMk/>
            <pc:sldMk cId="1259856727" sldId="292"/>
            <ac:picMk id="7" creationId="{9B0D0BE5-911C-7FB2-99D7-2911CACC72A1}"/>
          </ac:picMkLst>
        </pc:picChg>
      </pc:sldChg>
      <pc:sldChg chg="addSp modSp mod">
        <pc:chgData name="Roberto Gallardo" userId="49a044883f185952" providerId="LiveId" clId="{645C5603-66FD-455C-BC5B-472ECF654E55}" dt="2023-03-16T21:36:57.107" v="162" actId="1076"/>
        <pc:sldMkLst>
          <pc:docMk/>
          <pc:sldMk cId="3324519687" sldId="293"/>
        </pc:sldMkLst>
        <pc:picChg chg="add mod">
          <ac:chgData name="Roberto Gallardo" userId="49a044883f185952" providerId="LiveId" clId="{645C5603-66FD-455C-BC5B-472ECF654E55}" dt="2023-03-16T21:36:57.107" v="162" actId="1076"/>
          <ac:picMkLst>
            <pc:docMk/>
            <pc:sldMk cId="3324519687" sldId="293"/>
            <ac:picMk id="7" creationId="{95C2642C-1A42-479C-E91C-838DB1B17889}"/>
          </ac:picMkLst>
        </pc:picChg>
      </pc:sldChg>
      <pc:sldChg chg="addSp modSp mod">
        <pc:chgData name="Roberto Gallardo" userId="49a044883f185952" providerId="LiveId" clId="{645C5603-66FD-455C-BC5B-472ECF654E55}" dt="2023-03-16T21:36:17.448" v="137" actId="1076"/>
        <pc:sldMkLst>
          <pc:docMk/>
          <pc:sldMk cId="3256182630" sldId="295"/>
        </pc:sldMkLst>
        <pc:picChg chg="add mod">
          <ac:chgData name="Roberto Gallardo" userId="49a044883f185952" providerId="LiveId" clId="{645C5603-66FD-455C-BC5B-472ECF654E55}" dt="2023-03-16T21:36:17.448" v="137" actId="1076"/>
          <ac:picMkLst>
            <pc:docMk/>
            <pc:sldMk cId="3256182630" sldId="295"/>
            <ac:picMk id="7" creationId="{1DB7A4A9-F9AD-0072-2B96-1E5802695E72}"/>
          </ac:picMkLst>
        </pc:picChg>
      </pc:sldChg>
      <pc:sldChg chg="addSp modSp mod">
        <pc:chgData name="Roberto Gallardo" userId="49a044883f185952" providerId="LiveId" clId="{645C5603-66FD-455C-BC5B-472ECF654E55}" dt="2023-03-16T21:36:39.340" v="150" actId="1076"/>
        <pc:sldMkLst>
          <pc:docMk/>
          <pc:sldMk cId="4057156843" sldId="296"/>
        </pc:sldMkLst>
        <pc:picChg chg="add mod">
          <ac:chgData name="Roberto Gallardo" userId="49a044883f185952" providerId="LiveId" clId="{645C5603-66FD-455C-BC5B-472ECF654E55}" dt="2023-03-16T21:36:39.340" v="150" actId="1076"/>
          <ac:picMkLst>
            <pc:docMk/>
            <pc:sldMk cId="4057156843" sldId="296"/>
            <ac:picMk id="7" creationId="{1C35C553-1F49-94D4-4E97-A1A94E0D8D7F}"/>
          </ac:picMkLst>
        </pc:picChg>
      </pc:sldChg>
      <pc:sldChg chg="addSp modSp mod">
        <pc:chgData name="Roberto Gallardo" userId="49a044883f185952" providerId="LiveId" clId="{645C5603-66FD-455C-BC5B-472ECF654E55}" dt="2023-03-16T21:35:50.936" v="123" actId="1076"/>
        <pc:sldMkLst>
          <pc:docMk/>
          <pc:sldMk cId="2080110827" sldId="297"/>
        </pc:sldMkLst>
        <pc:picChg chg="add mod">
          <ac:chgData name="Roberto Gallardo" userId="49a044883f185952" providerId="LiveId" clId="{645C5603-66FD-455C-BC5B-472ECF654E55}" dt="2023-03-16T21:35:50.936" v="123" actId="1076"/>
          <ac:picMkLst>
            <pc:docMk/>
            <pc:sldMk cId="2080110827" sldId="297"/>
            <ac:picMk id="6" creationId="{E738471E-1EB6-AF1D-F3E8-5E1ECC25B562}"/>
          </ac:picMkLst>
        </pc:picChg>
      </pc:sldChg>
      <pc:sldChg chg="addSp modSp mod">
        <pc:chgData name="Roberto Gallardo" userId="49a044883f185952" providerId="LiveId" clId="{645C5603-66FD-455C-BC5B-472ECF654E55}" dt="2023-03-16T21:35:33.984" v="114" actId="1076"/>
        <pc:sldMkLst>
          <pc:docMk/>
          <pc:sldMk cId="1532666867" sldId="298"/>
        </pc:sldMkLst>
        <pc:picChg chg="add mod">
          <ac:chgData name="Roberto Gallardo" userId="49a044883f185952" providerId="LiveId" clId="{645C5603-66FD-455C-BC5B-472ECF654E55}" dt="2023-03-16T21:35:33.984" v="114" actId="1076"/>
          <ac:picMkLst>
            <pc:docMk/>
            <pc:sldMk cId="1532666867" sldId="298"/>
            <ac:picMk id="6" creationId="{C44463E9-BAA7-FC92-FC9E-07A88B68D635}"/>
          </ac:picMkLst>
        </pc:picChg>
      </pc:sldChg>
      <pc:sldChg chg="addSp modSp mod">
        <pc:chgData name="Roberto Gallardo" userId="49a044883f185952" providerId="LiveId" clId="{645C5603-66FD-455C-BC5B-472ECF654E55}" dt="2023-03-16T21:39:54.812" v="282" actId="1076"/>
        <pc:sldMkLst>
          <pc:docMk/>
          <pc:sldMk cId="1951376777" sldId="299"/>
        </pc:sldMkLst>
        <pc:picChg chg="add mod">
          <ac:chgData name="Roberto Gallardo" userId="49a044883f185952" providerId="LiveId" clId="{645C5603-66FD-455C-BC5B-472ECF654E55}" dt="2023-03-16T21:39:54.812" v="282" actId="1076"/>
          <ac:picMkLst>
            <pc:docMk/>
            <pc:sldMk cId="1951376777" sldId="299"/>
            <ac:picMk id="7" creationId="{4B5B4414-1AB7-A39A-7B9B-F21F4352B825}"/>
          </ac:picMkLst>
        </pc:picChg>
      </pc:sldChg>
      <pc:sldChg chg="modSp mod">
        <pc:chgData name="Roberto Gallardo" userId="49a044883f185952" providerId="LiveId" clId="{645C5603-66FD-455C-BC5B-472ECF654E55}" dt="2023-03-15T01:03:11.746" v="97" actId="1035"/>
        <pc:sldMkLst>
          <pc:docMk/>
          <pc:sldMk cId="2366022307" sldId="306"/>
        </pc:sldMkLst>
        <pc:spChg chg="mod">
          <ac:chgData name="Roberto Gallardo" userId="49a044883f185952" providerId="LiveId" clId="{645C5603-66FD-455C-BC5B-472ECF654E55}" dt="2023-03-15T01:02:21.380" v="23" actId="1036"/>
          <ac:spMkLst>
            <pc:docMk/>
            <pc:sldMk cId="2366022307" sldId="306"/>
            <ac:spMk id="9" creationId="{EB4CC4F6-2F6B-8AF9-8151-CB2C0FF4BAC4}"/>
          </ac:spMkLst>
        </pc:spChg>
        <pc:spChg chg="mod">
          <ac:chgData name="Roberto Gallardo" userId="49a044883f185952" providerId="LiveId" clId="{645C5603-66FD-455C-BC5B-472ECF654E55}" dt="2023-03-15T01:02:46.972" v="66" actId="1036"/>
          <ac:spMkLst>
            <pc:docMk/>
            <pc:sldMk cId="2366022307" sldId="306"/>
            <ac:spMk id="46" creationId="{52B269F4-652B-D23F-EF95-1155C4354D29}"/>
          </ac:spMkLst>
        </pc:spChg>
        <pc:grpChg chg="mod">
          <ac:chgData name="Roberto Gallardo" userId="49a044883f185952" providerId="LiveId" clId="{645C5603-66FD-455C-BC5B-472ECF654E55}" dt="2023-03-15T01:02:11.531" v="12" actId="1035"/>
          <ac:grpSpMkLst>
            <pc:docMk/>
            <pc:sldMk cId="2366022307" sldId="306"/>
            <ac:grpSpMk id="8" creationId="{1CBA6D1F-E797-72F7-A3DF-455B0E8BBE6C}"/>
          </ac:grpSpMkLst>
        </pc:grpChg>
        <pc:grpChg chg="mod">
          <ac:chgData name="Roberto Gallardo" userId="49a044883f185952" providerId="LiveId" clId="{645C5603-66FD-455C-BC5B-472ECF654E55}" dt="2023-03-15T01:02:42.677" v="56" actId="1036"/>
          <ac:grpSpMkLst>
            <pc:docMk/>
            <pc:sldMk cId="2366022307" sldId="306"/>
            <ac:grpSpMk id="45" creationId="{2902D712-F65D-4B84-922C-94FE2466E393}"/>
          </ac:grpSpMkLst>
        </pc:grpChg>
        <pc:cxnChg chg="mod">
          <ac:chgData name="Roberto Gallardo" userId="49a044883f185952" providerId="LiveId" clId="{645C5603-66FD-455C-BC5B-472ECF654E55}" dt="2023-03-15T01:02:34.577" v="45" actId="1035"/>
          <ac:cxnSpMkLst>
            <pc:docMk/>
            <pc:sldMk cId="2366022307" sldId="306"/>
            <ac:cxnSpMk id="13" creationId="{1D0B6E64-E4A0-FEB0-ABC4-B26C8EF7542E}"/>
          </ac:cxnSpMkLst>
        </pc:cxnChg>
        <pc:cxnChg chg="mod">
          <ac:chgData name="Roberto Gallardo" userId="49a044883f185952" providerId="LiveId" clId="{645C5603-66FD-455C-BC5B-472ECF654E55}" dt="2023-03-15T01:02:37.216" v="46" actId="14100"/>
          <ac:cxnSpMkLst>
            <pc:docMk/>
            <pc:sldMk cId="2366022307" sldId="306"/>
            <ac:cxnSpMk id="14" creationId="{15AB37BA-8065-3082-3040-FB8974BC0126}"/>
          </ac:cxnSpMkLst>
        </pc:cxnChg>
        <pc:cxnChg chg="mod">
          <ac:chgData name="Roberto Gallardo" userId="49a044883f185952" providerId="LiveId" clId="{645C5603-66FD-455C-BC5B-472ECF654E55}" dt="2023-03-15T01:02:25.192" v="24" actId="14100"/>
          <ac:cxnSpMkLst>
            <pc:docMk/>
            <pc:sldMk cId="2366022307" sldId="306"/>
            <ac:cxnSpMk id="15" creationId="{BCCCC111-CA7C-CAB0-EAC5-333D5A26296D}"/>
          </ac:cxnSpMkLst>
        </pc:cxnChg>
        <pc:cxnChg chg="mod">
          <ac:chgData name="Roberto Gallardo" userId="49a044883f185952" providerId="LiveId" clId="{645C5603-66FD-455C-BC5B-472ECF654E55}" dt="2023-03-15T01:03:11.746" v="97" actId="1035"/>
          <ac:cxnSpMkLst>
            <pc:docMk/>
            <pc:sldMk cId="2366022307" sldId="306"/>
            <ac:cxnSpMk id="48" creationId="{80DFC008-E763-20E3-3C15-3CBA9E682CBC}"/>
          </ac:cxnSpMkLst>
        </pc:cxnChg>
        <pc:cxnChg chg="mod">
          <ac:chgData name="Roberto Gallardo" userId="49a044883f185952" providerId="LiveId" clId="{645C5603-66FD-455C-BC5B-472ECF654E55}" dt="2023-03-15T01:02:59.735" v="91" actId="14100"/>
          <ac:cxnSpMkLst>
            <pc:docMk/>
            <pc:sldMk cId="2366022307" sldId="306"/>
            <ac:cxnSpMk id="49" creationId="{1AE555B9-B516-CC3B-86D2-58C679E1A7C1}"/>
          </ac:cxnSpMkLst>
        </pc:cxnChg>
        <pc:cxnChg chg="mod">
          <ac:chgData name="Roberto Gallardo" userId="49a044883f185952" providerId="LiveId" clId="{645C5603-66FD-455C-BC5B-472ECF654E55}" dt="2023-03-15T01:03:04.663" v="92" actId="14100"/>
          <ac:cxnSpMkLst>
            <pc:docMk/>
            <pc:sldMk cId="2366022307" sldId="306"/>
            <ac:cxnSpMk id="50" creationId="{18A0DFB3-6B6C-1D7D-818E-E0D9232AD38D}"/>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Chatham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526CB02-54FB-6459-15B5-9A3BA48CD163}"/>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B11E692D-344C-68BF-ADAE-4BF73B0A9DF0}"/>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B034324C-441E-B855-0573-6AF4E0C03E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44463E9-BAA7-FC92-FC9E-07A88B68D6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738471E-1EB6-AF1D-F3E8-5E1ECC25B5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A079F0B-D066-1500-50B9-A861C4119C09}"/>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1DB7A4A9-F9AD-0072-2B96-1E5802695E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523"/>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D6237E1-0901-4887-8728-3BF41C1A5656}"/>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1C35C553-1F49-94D4-4E97-A1A94E0D8D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6097"/>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8E07C0C1-EB16-06A9-4A26-A9FA34DB5A7B}"/>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95C2642C-1A42-479C-E91C-838DB1B178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AD23828-2AE3-2C05-3FEF-CE227E519ADF}"/>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B48F00E8-35B3-819B-0D23-70AF02AC26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9631" y="1419745"/>
            <a:ext cx="6399969" cy="4525784"/>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A8AA6E5-5166-2670-F2E0-105F71400DEB}"/>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0F52FD3E-6349-AD20-C42C-EC228D794E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603" y="1402671"/>
            <a:ext cx="6398997" cy="4525097"/>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4ABEA37-B22F-AFB1-5EDA-98ED419D6AD6}"/>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32E0ABD1-9EEE-1A1E-A2D8-14C4FF9892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8813051-3FE2-6B8A-8F19-F2B241A7A5F5}"/>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EEE23E75-4B59-06E5-4DD0-B2A029C411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970" y="1418246"/>
            <a:ext cx="6398630" cy="4524837"/>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A07F9A1-E9EA-802D-4A06-6FBE8221C6E1}"/>
              </a:ext>
            </a:extLst>
          </p:cNvPr>
          <p:cNvPicPr/>
          <p:nvPr/>
        </p:nvPicPr>
        <p:blipFill>
          <a:blip r:embed="rId2"/>
          <a:stretch>
            <a:fillRect/>
          </a:stretch>
        </p:blipFill>
        <p:spPr>
          <a:xfrm>
            <a:off x="159053" y="1774372"/>
            <a:ext cx="5289247" cy="3790406"/>
          </a:xfrm>
          <a:prstGeom prst="rect">
            <a:avLst/>
          </a:prstGeom>
        </p:spPr>
      </p:pic>
      <p:pic>
        <p:nvPicPr>
          <p:cNvPr id="7" name="Picture 6" descr="Diagram&#10;&#10;Description automatically generated with medium confidence">
            <a:extLst>
              <a:ext uri="{FF2B5EF4-FFF2-40B4-BE49-F238E27FC236}">
                <a16:creationId xmlns:a16="http://schemas.microsoft.com/office/drawing/2014/main" id="{0E289D1A-8184-7E0A-5F7D-8C169E7656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41"/>
            <a:ext cx="6394147" cy="452166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BB7924E-F3E9-0C4E-0AED-C1B769AAB81D}"/>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255071F3-A306-6591-BA70-B52ABAAAAC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9736" y="1410552"/>
            <a:ext cx="6399864" cy="452571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12AD360-0429-FEE7-242B-2501C9268928}"/>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C6BEC60F-51E3-9A25-F5BD-C43681421C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0EAF01E-7009-6696-D248-0D80817EEAF8}"/>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9B0D0BE5-911C-7FB2-99D7-2911CACC72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574"/>
            <a:ext cx="6408945" cy="453213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ECFCFA2-2561-3A31-3E91-8B798C529B23}"/>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FED0E214-A2E9-DC22-414C-FCD1E5A19F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1"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BB48E53-B3D7-F966-56ED-9AA8AA00BED1}"/>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D6D5B6C4-F93E-0A66-BF44-6A43AEC706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8804" y="1422166"/>
            <a:ext cx="6380796" cy="4512225"/>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996945ED-B1DF-32D4-79E7-113B5BDDAAC2}"/>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4B5B4414-1AB7-A39A-7B9B-F21F4352B8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5228C067-4191-0573-40BC-9A2664D5BB2E}"/>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AB8FF066-8EDE-6DC1-3BFE-D2339FBA44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0671" y="1412461"/>
            <a:ext cx="6408929" cy="453212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024F2C07-8591-71EF-B8C3-199C2D38E7CD}"/>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49778BE7-E406-6CC9-70CE-3448F72BB305}"/>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93C73BCA-F537-96A4-0D03-8841D8215F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609141E4-4187-F776-1ADC-0776C6E1508C}"/>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FA395CE-8A06-B5D4-707D-DD1F276C3E6E}"/>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F451ACD-C507-E50D-423F-6B5841EF0BC1}"/>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2140009"/>
            <a:ext cx="1198148" cy="2278011"/>
            <a:chOff x="2775759" y="2213999"/>
            <a:chExt cx="1198148" cy="2278011"/>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8896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221399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2213999"/>
              <a:ext cx="0" cy="67569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782246"/>
              <a:ext cx="0" cy="7097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42684" y="2547881"/>
            <a:ext cx="1198148" cy="1313199"/>
            <a:chOff x="10485745" y="2909847"/>
            <a:chExt cx="1198148" cy="1313199"/>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14517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4.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90984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909847"/>
              <a:ext cx="0" cy="235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037726"/>
              <a:ext cx="0" cy="18532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2363715"/>
            <a:ext cx="1198148" cy="2005809"/>
            <a:chOff x="2775759" y="2486201"/>
            <a:chExt cx="1198148" cy="2005809"/>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300528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49099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486201"/>
              <a:ext cx="0" cy="5190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69640" y="1817356"/>
            <a:ext cx="1198148" cy="2008308"/>
            <a:chOff x="2775759" y="2536499"/>
            <a:chExt cx="1198148" cy="200830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8285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3649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36499"/>
              <a:ext cx="0" cy="54635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75410"/>
              <a:ext cx="0" cy="5693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84EE5AFA-55C8-FFB2-3FDC-15242B281B3C}"/>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822758AB-8329-FD11-1A89-AE2EB71F4476}"/>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7F241B7-CF60-423F-1208-134C2CF54CFF}"/>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072D488F-D644-5E5B-7FCB-9F8E02F1AD55}"/>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5D67D4A-5C9F-662E-CD29-F4B2F88A27CD}"/>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D5DB8B4-A1E6-0894-C2DA-6AC3CCD21C42}"/>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DC78706-BF11-A815-7AF6-1386A0754139}"/>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A8634477-D173-F16E-FEAB-5505744344F7}"/>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52</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5</cp:revision>
  <dcterms:created xsi:type="dcterms:W3CDTF">2022-07-04T13:32:28Z</dcterms:created>
  <dcterms:modified xsi:type="dcterms:W3CDTF">2023-03-16T21:40:38Z</dcterms:modified>
</cp:coreProperties>
</file>